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8" r:id="rId2"/>
    <p:sldId id="257" r:id="rId3"/>
    <p:sldId id="260" r:id="rId4"/>
    <p:sldId id="259" r:id="rId5"/>
    <p:sldId id="261" r:id="rId6"/>
    <p:sldId id="262" r:id="rId7"/>
    <p:sldId id="263" r:id="rId8"/>
    <p:sldId id="264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0000"/>
    <a:srgbClr val="EF3340"/>
    <a:srgbClr val="7C2529"/>
    <a:srgbClr val="0082BA"/>
    <a:srgbClr val="0C2340"/>
    <a:srgbClr val="002D72"/>
    <a:srgbClr val="B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29" autoAdjust="0"/>
    <p:restoredTop sz="94713"/>
  </p:normalViewPr>
  <p:slideViewPr>
    <p:cSldViewPr snapToGrid="0" snapToObjects="1">
      <p:cViewPr varScale="1">
        <p:scale>
          <a:sx n="75" d="100"/>
          <a:sy n="75" d="100"/>
        </p:scale>
        <p:origin x="36" y="19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7" d="100"/>
          <a:sy n="97" d="100"/>
        </p:scale>
        <p:origin x="4328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5BC2519-863D-234B-B65C-3DE477FC941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E4F3B06-37FA-1642-9B87-5305C60123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AE3E0C-9EF5-E341-ABE6-D6A102E009F5}" type="datetimeFigureOut">
              <a:rPr lang="en-US" smtClean="0"/>
              <a:t>2/4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93A77-C0E6-0344-A374-123347DD50B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85B3E9-CEA5-C848-99D6-1D5BDA633E8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66A810-B165-8E4C-9653-EB8CC16F147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05230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79AB83-0517-5F49-B7BE-0D6BD44FA6F8}" type="datetimeFigureOut">
              <a:rPr lang="en-US" smtClean="0"/>
              <a:t>2/4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03C462-7958-AE4F-8922-4F865A726DB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098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Titl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8BA93B8-F14B-A2C7-1181-55F173FB82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6992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21">
            <a:extLst>
              <a:ext uri="{FF2B5EF4-FFF2-40B4-BE49-F238E27FC236}">
                <a16:creationId xmlns:a16="http://schemas.microsoft.com/office/drawing/2014/main" id="{A518F8C4-78C0-AC4C-9B13-8C2B01E3E4B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0" y="0"/>
            <a:ext cx="12192000" cy="6861958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97CDF9FA-C768-D246-A10F-318622E276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86918" y="2103437"/>
            <a:ext cx="9418164" cy="1071563"/>
          </a:xfrm>
        </p:spPr>
        <p:txBody>
          <a:bodyPr vert="horz" lIns="45720" rIns="45720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ase Nam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3ACE61C-D3ED-8C4B-A9A9-D295538DCE0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68682" y="6327557"/>
            <a:ext cx="2405459" cy="438564"/>
          </a:xfrm>
          <a:prstGeom prst="rect">
            <a:avLst/>
          </a:prstGeom>
        </p:spPr>
      </p:pic>
      <p:sp>
        <p:nvSpPr>
          <p:cNvPr id="5" name="Text Placeholder 19">
            <a:extLst>
              <a:ext uri="{FF2B5EF4-FFF2-40B4-BE49-F238E27FC236}">
                <a16:creationId xmlns:a16="http://schemas.microsoft.com/office/drawing/2014/main" id="{69881AD7-5068-7646-B752-0B9ACA2141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21120" y="6512357"/>
            <a:ext cx="3688986" cy="23584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© Tepper Consulting Club, 2025</a:t>
            </a:r>
          </a:p>
        </p:txBody>
      </p:sp>
      <p:sp>
        <p:nvSpPr>
          <p:cNvPr id="2" name="Title 10">
            <a:extLst>
              <a:ext uri="{FF2B5EF4-FFF2-40B4-BE49-F238E27FC236}">
                <a16:creationId xmlns:a16="http://schemas.microsoft.com/office/drawing/2014/main" id="{07EAD772-9ACB-DFE2-3C3E-A0B4A77C7504}"/>
              </a:ext>
            </a:extLst>
          </p:cNvPr>
          <p:cNvSpPr txBox="1">
            <a:spLocks/>
          </p:cNvSpPr>
          <p:nvPr userDrawn="1"/>
        </p:nvSpPr>
        <p:spPr>
          <a:xfrm>
            <a:off x="3386667" y="3241543"/>
            <a:ext cx="5215466" cy="813990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US" sz="20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BF7EB9C-D7FE-07DD-AB76-19A98E679F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84500" y="3241675"/>
            <a:ext cx="6583363" cy="679272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z="1800" dirty="0"/>
              <a:t>Industry | Case Type</a:t>
            </a:r>
            <a:br>
              <a:rPr lang="en-US" sz="1800" dirty="0"/>
            </a:br>
            <a:r>
              <a:rPr lang="en-US" sz="1800" dirty="0"/>
              <a:t>Interviewee or Interviewer Led</a:t>
            </a:r>
          </a:p>
        </p:txBody>
      </p:sp>
    </p:spTree>
    <p:extLst>
      <p:ext uri="{BB962C8B-B14F-4D97-AF65-F5344CB8AC3E}">
        <p14:creationId xmlns:p14="http://schemas.microsoft.com/office/powerpoint/2010/main" val="1671322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ummary and Prom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5C5BD4C-411A-8AEF-97D0-66D0423E2F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8723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4F35D0A-D307-BA4A-B08A-FA0CCB35ED31}"/>
              </a:ext>
            </a:extLst>
          </p:cNvPr>
          <p:cNvCxnSpPr>
            <a:cxnSpLocks/>
          </p:cNvCxnSpPr>
          <p:nvPr userDrawn="1"/>
        </p:nvCxnSpPr>
        <p:spPr>
          <a:xfrm>
            <a:off x="716890" y="1187387"/>
            <a:ext cx="7673644" cy="0"/>
          </a:xfrm>
          <a:prstGeom prst="line">
            <a:avLst/>
          </a:prstGeom>
          <a:ln>
            <a:solidFill>
              <a:srgbClr val="EF3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64F15F65-9B7A-0748-94FC-55AA212D38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1162" y="1372998"/>
            <a:ext cx="3870099" cy="34013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i="0" cap="none" spc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z="2000" dirty="0"/>
              <a:t>Industry | Case Type</a:t>
            </a:r>
            <a:endParaRPr lang="en-US" dirty="0"/>
          </a:p>
        </p:txBody>
      </p:sp>
      <p:sp>
        <p:nvSpPr>
          <p:cNvPr id="30" name="Text Placeholder 19">
            <a:extLst>
              <a:ext uri="{FF2B5EF4-FFF2-40B4-BE49-F238E27FC236}">
                <a16:creationId xmlns:a16="http://schemas.microsoft.com/office/drawing/2014/main" id="{9F458384-4D14-B444-BD1F-FF0C65D80D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1162" y="1863694"/>
            <a:ext cx="7659372" cy="443758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2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Insert Promp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516494D-B45E-4AC8-C34A-F672E6B42EC6}"/>
              </a:ext>
            </a:extLst>
          </p:cNvPr>
          <p:cNvSpPr/>
          <p:nvPr userDrawn="1"/>
        </p:nvSpPr>
        <p:spPr>
          <a:xfrm rot="5400000">
            <a:off x="6986309" y="1659602"/>
            <a:ext cx="6865293" cy="3546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8091BC-A16C-1961-3B08-C39C003A0014}"/>
              </a:ext>
            </a:extLst>
          </p:cNvPr>
          <p:cNvCxnSpPr>
            <a:cxnSpLocks/>
          </p:cNvCxnSpPr>
          <p:nvPr userDrawn="1"/>
        </p:nvCxnSpPr>
        <p:spPr>
          <a:xfrm>
            <a:off x="8868936" y="1187387"/>
            <a:ext cx="3035749" cy="0"/>
          </a:xfrm>
          <a:prstGeom prst="line">
            <a:avLst/>
          </a:prstGeom>
          <a:ln>
            <a:solidFill>
              <a:srgbClr val="EF3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4F675772-797A-60D8-F2A4-A78D6A64877E}"/>
              </a:ext>
            </a:extLst>
          </p:cNvPr>
          <p:cNvSpPr/>
          <p:nvPr userDrawn="1"/>
        </p:nvSpPr>
        <p:spPr>
          <a:xfrm>
            <a:off x="0" y="-1"/>
            <a:ext cx="475785" cy="6865293"/>
          </a:xfrm>
          <a:prstGeom prst="rect">
            <a:avLst/>
          </a:prstGeom>
          <a:solidFill>
            <a:srgbClr val="B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D2C6E3A-CF69-9CF1-1A65-65F766C904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16890" y="6402345"/>
            <a:ext cx="1725891" cy="314664"/>
          </a:xfrm>
          <a:prstGeom prst="rect">
            <a:avLst/>
          </a:prstGeom>
        </p:spPr>
      </p:pic>
      <p:pic>
        <p:nvPicPr>
          <p:cNvPr id="16" name="Picture 15" descr="A logo with text overlay&#10;&#10;Description automatically generated">
            <a:extLst>
              <a:ext uri="{FF2B5EF4-FFF2-40B4-BE49-F238E27FC236}">
                <a16:creationId xmlns:a16="http://schemas.microsoft.com/office/drawing/2014/main" id="{35CB9D7F-5721-17AB-6DE8-1D098FB9A9F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091333" y="6348746"/>
            <a:ext cx="813353" cy="353133"/>
          </a:xfrm>
          <a:prstGeom prst="rect">
            <a:avLst/>
          </a:prstGeom>
        </p:spPr>
      </p:pic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3F864FAF-3C18-2595-203D-C5BD6E577D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68936" y="1372998"/>
            <a:ext cx="3035749" cy="492828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2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B4E7861-FC28-BD5C-B655-68CE8CC556CA}"/>
              </a:ext>
            </a:extLst>
          </p:cNvPr>
          <p:cNvCxnSpPr>
            <a:cxnSpLocks/>
          </p:cNvCxnSpPr>
          <p:nvPr userDrawn="1"/>
        </p:nvCxnSpPr>
        <p:spPr>
          <a:xfrm>
            <a:off x="716890" y="6731639"/>
            <a:ext cx="11187796" cy="0"/>
          </a:xfrm>
          <a:prstGeom prst="line">
            <a:avLst/>
          </a:prstGeom>
          <a:ln>
            <a:solidFill>
              <a:srgbClr val="EF3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10C5962-6CCF-3B32-9213-2FBB8A4C18AE}"/>
              </a:ext>
            </a:extLst>
          </p:cNvPr>
          <p:cNvSpPr txBox="1">
            <a:spLocks/>
          </p:cNvSpPr>
          <p:nvPr userDrawn="1"/>
        </p:nvSpPr>
        <p:spPr>
          <a:xfrm>
            <a:off x="11873402" y="6542413"/>
            <a:ext cx="4757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0C042595-5A16-0D48-BFD4-46674D550121}" type="slidenum">
              <a:rPr lang="en-US" sz="1000" b="1" smtClean="0">
                <a:latin typeface="Verdana" panose="020B0604030504040204" pitchFamily="34" charset="0"/>
                <a:ea typeface="Verdana" panose="020B0604030504040204" pitchFamily="34" charset="0"/>
              </a:rPr>
              <a:pPr algn="l"/>
              <a:t>‹#›</a:t>
            </a:fld>
            <a:endParaRPr lang="en-US" sz="1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5" name="Title 5">
            <a:extLst>
              <a:ext uri="{FF2B5EF4-FFF2-40B4-BE49-F238E27FC236}">
                <a16:creationId xmlns:a16="http://schemas.microsoft.com/office/drawing/2014/main" id="{8CF690E8-45EF-270C-6D7B-130A70854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550" y="660321"/>
            <a:ext cx="7687256" cy="502943"/>
          </a:xfrm>
        </p:spPr>
        <p:txBody>
          <a:bodyPr vert="horz" anchor="b"/>
          <a:lstStyle>
            <a:lvl1pPr>
              <a:defRPr/>
            </a:lvl1pPr>
          </a:lstStyle>
          <a:p>
            <a:r>
              <a:rPr lang="en-US" dirty="0"/>
              <a:t>Click to add Headline</a:t>
            </a:r>
          </a:p>
        </p:txBody>
      </p:sp>
      <p:sp>
        <p:nvSpPr>
          <p:cNvPr id="28" name="Text Placeholder 37">
            <a:extLst>
              <a:ext uri="{FF2B5EF4-FFF2-40B4-BE49-F238E27FC236}">
                <a16:creationId xmlns:a16="http://schemas.microsoft.com/office/drawing/2014/main" id="{8DB922A7-12D3-3516-215B-47A682C8E20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7550" y="233188"/>
            <a:ext cx="3649663" cy="349225"/>
          </a:xfrm>
        </p:spPr>
        <p:txBody>
          <a:bodyPr anchor="ctr">
            <a:noAutofit/>
          </a:bodyPr>
          <a:lstStyle>
            <a:lvl1pPr marL="0" indent="0">
              <a:buNone/>
              <a:defRPr sz="1600" b="1"/>
            </a:lvl1pPr>
          </a:lstStyle>
          <a:p>
            <a:r>
              <a:rPr lang="en-US" dirty="0"/>
              <a:t>## | CASE: 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457B6542-B1E7-1914-00C9-355F64040C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68936" y="660321"/>
            <a:ext cx="3035750" cy="517572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800" b="1" i="0" cap="none" spc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3926475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ummary and Prom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5C5BD4C-411A-8AEF-97D0-66D0423E2F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8723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C5BD4C-411A-8AEF-97D0-66D0423E2F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4F35D0A-D307-BA4A-B08A-FA0CCB35ED31}"/>
              </a:ext>
            </a:extLst>
          </p:cNvPr>
          <p:cNvCxnSpPr>
            <a:cxnSpLocks/>
          </p:cNvCxnSpPr>
          <p:nvPr userDrawn="1"/>
        </p:nvCxnSpPr>
        <p:spPr>
          <a:xfrm>
            <a:off x="716890" y="1187387"/>
            <a:ext cx="7673644" cy="0"/>
          </a:xfrm>
          <a:prstGeom prst="line">
            <a:avLst/>
          </a:prstGeom>
          <a:ln>
            <a:solidFill>
              <a:srgbClr val="EF3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9">
            <a:extLst>
              <a:ext uri="{FF2B5EF4-FFF2-40B4-BE49-F238E27FC236}">
                <a16:creationId xmlns:a16="http://schemas.microsoft.com/office/drawing/2014/main" id="{9F458384-4D14-B444-BD1F-FF0C65D80D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1162" y="1372998"/>
            <a:ext cx="7659372" cy="492828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2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Insert Promp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516494D-B45E-4AC8-C34A-F672E6B42EC6}"/>
              </a:ext>
            </a:extLst>
          </p:cNvPr>
          <p:cNvSpPr/>
          <p:nvPr userDrawn="1"/>
        </p:nvSpPr>
        <p:spPr>
          <a:xfrm rot="5400000">
            <a:off x="6986309" y="1659602"/>
            <a:ext cx="6865293" cy="35460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8091BC-A16C-1961-3B08-C39C003A0014}"/>
              </a:ext>
            </a:extLst>
          </p:cNvPr>
          <p:cNvCxnSpPr>
            <a:cxnSpLocks/>
          </p:cNvCxnSpPr>
          <p:nvPr userDrawn="1"/>
        </p:nvCxnSpPr>
        <p:spPr>
          <a:xfrm>
            <a:off x="8868936" y="1187387"/>
            <a:ext cx="3035749" cy="0"/>
          </a:xfrm>
          <a:prstGeom prst="line">
            <a:avLst/>
          </a:prstGeom>
          <a:ln>
            <a:solidFill>
              <a:srgbClr val="EF3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4F675772-797A-60D8-F2A4-A78D6A64877E}"/>
              </a:ext>
            </a:extLst>
          </p:cNvPr>
          <p:cNvSpPr/>
          <p:nvPr userDrawn="1"/>
        </p:nvSpPr>
        <p:spPr>
          <a:xfrm>
            <a:off x="0" y="-1"/>
            <a:ext cx="475785" cy="6865293"/>
          </a:xfrm>
          <a:prstGeom prst="rect">
            <a:avLst/>
          </a:prstGeom>
          <a:solidFill>
            <a:srgbClr val="B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D2C6E3A-CF69-9CF1-1A65-65F766C9041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16890" y="6402345"/>
            <a:ext cx="1725891" cy="314664"/>
          </a:xfrm>
          <a:prstGeom prst="rect">
            <a:avLst/>
          </a:prstGeom>
        </p:spPr>
      </p:pic>
      <p:pic>
        <p:nvPicPr>
          <p:cNvPr id="16" name="Picture 15" descr="A logo with text overlay&#10;&#10;Description automatically generated">
            <a:extLst>
              <a:ext uri="{FF2B5EF4-FFF2-40B4-BE49-F238E27FC236}">
                <a16:creationId xmlns:a16="http://schemas.microsoft.com/office/drawing/2014/main" id="{35CB9D7F-5721-17AB-6DE8-1D098FB9A9F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091333" y="6348746"/>
            <a:ext cx="813353" cy="353133"/>
          </a:xfrm>
          <a:prstGeom prst="rect">
            <a:avLst/>
          </a:prstGeom>
        </p:spPr>
      </p:pic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3F864FAF-3C18-2595-203D-C5BD6E577D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68936" y="1372998"/>
            <a:ext cx="3035749" cy="492828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2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B4E7861-FC28-BD5C-B655-68CE8CC556CA}"/>
              </a:ext>
            </a:extLst>
          </p:cNvPr>
          <p:cNvCxnSpPr>
            <a:cxnSpLocks/>
          </p:cNvCxnSpPr>
          <p:nvPr userDrawn="1"/>
        </p:nvCxnSpPr>
        <p:spPr>
          <a:xfrm>
            <a:off x="716890" y="6731639"/>
            <a:ext cx="11187796" cy="0"/>
          </a:xfrm>
          <a:prstGeom prst="line">
            <a:avLst/>
          </a:prstGeom>
          <a:ln>
            <a:solidFill>
              <a:srgbClr val="EF3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10C5962-6CCF-3B32-9213-2FBB8A4C18AE}"/>
              </a:ext>
            </a:extLst>
          </p:cNvPr>
          <p:cNvSpPr txBox="1">
            <a:spLocks/>
          </p:cNvSpPr>
          <p:nvPr userDrawn="1"/>
        </p:nvSpPr>
        <p:spPr>
          <a:xfrm>
            <a:off x="11873402" y="6542413"/>
            <a:ext cx="4757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0C042595-5A16-0D48-BFD4-46674D550121}" type="slidenum">
              <a:rPr lang="en-US" sz="1000" b="1" smtClean="0">
                <a:latin typeface="Verdana" panose="020B0604030504040204" pitchFamily="34" charset="0"/>
                <a:ea typeface="Verdana" panose="020B0604030504040204" pitchFamily="34" charset="0"/>
              </a:rPr>
              <a:pPr algn="l"/>
              <a:t>‹#›</a:t>
            </a:fld>
            <a:endParaRPr lang="en-US" sz="1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5" name="Title 5">
            <a:extLst>
              <a:ext uri="{FF2B5EF4-FFF2-40B4-BE49-F238E27FC236}">
                <a16:creationId xmlns:a16="http://schemas.microsoft.com/office/drawing/2014/main" id="{8CF690E8-45EF-270C-6D7B-130A70854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550" y="660321"/>
            <a:ext cx="7687256" cy="502943"/>
          </a:xfrm>
        </p:spPr>
        <p:txBody>
          <a:bodyPr vert="horz" anchor="b"/>
          <a:lstStyle>
            <a:lvl1pPr>
              <a:defRPr/>
            </a:lvl1pPr>
          </a:lstStyle>
          <a:p>
            <a:r>
              <a:rPr lang="en-US" dirty="0"/>
              <a:t>Click to add Headline</a:t>
            </a:r>
          </a:p>
        </p:txBody>
      </p:sp>
      <p:sp>
        <p:nvSpPr>
          <p:cNvPr id="28" name="Text Placeholder 37">
            <a:extLst>
              <a:ext uri="{FF2B5EF4-FFF2-40B4-BE49-F238E27FC236}">
                <a16:creationId xmlns:a16="http://schemas.microsoft.com/office/drawing/2014/main" id="{8DB922A7-12D3-3516-215B-47A682C8E20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7550" y="233188"/>
            <a:ext cx="3649663" cy="349225"/>
          </a:xfrm>
        </p:spPr>
        <p:txBody>
          <a:bodyPr anchor="ctr">
            <a:noAutofit/>
          </a:bodyPr>
          <a:lstStyle>
            <a:lvl1pPr marL="0" indent="0">
              <a:buNone/>
              <a:defRPr sz="1600" b="1"/>
            </a:lvl1pPr>
          </a:lstStyle>
          <a:p>
            <a:r>
              <a:rPr lang="en-US" dirty="0"/>
              <a:t>## | CASE: 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457B6542-B1E7-1914-00C9-355F64040C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68936" y="660321"/>
            <a:ext cx="3035750" cy="517572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800" b="1" i="0" cap="none" spc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18647247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F40A341E-5DEA-EDC5-CBAE-2B75E40E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6822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8516494D-B45E-4AC8-C34A-F672E6B42EC6}"/>
              </a:ext>
            </a:extLst>
          </p:cNvPr>
          <p:cNvSpPr/>
          <p:nvPr userDrawn="1"/>
        </p:nvSpPr>
        <p:spPr>
          <a:xfrm rot="5400000">
            <a:off x="5711353" y="384648"/>
            <a:ext cx="6865293" cy="60960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8091BC-A16C-1961-3B08-C39C003A0014}"/>
              </a:ext>
            </a:extLst>
          </p:cNvPr>
          <p:cNvCxnSpPr>
            <a:cxnSpLocks/>
          </p:cNvCxnSpPr>
          <p:nvPr userDrawn="1"/>
        </p:nvCxnSpPr>
        <p:spPr>
          <a:xfrm>
            <a:off x="6334963" y="1177894"/>
            <a:ext cx="5569723" cy="0"/>
          </a:xfrm>
          <a:prstGeom prst="line">
            <a:avLst/>
          </a:prstGeom>
          <a:ln>
            <a:solidFill>
              <a:srgbClr val="EF3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16BF7D58-0D2C-069C-344D-292DC7498B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4964" y="660321"/>
            <a:ext cx="5569722" cy="517572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800" b="1" i="0" cap="none" spc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D5AD1D-E88D-23F4-5498-C425D00C4FFE}"/>
              </a:ext>
            </a:extLst>
          </p:cNvPr>
          <p:cNvSpPr/>
          <p:nvPr userDrawn="1"/>
        </p:nvSpPr>
        <p:spPr>
          <a:xfrm>
            <a:off x="0" y="-1"/>
            <a:ext cx="475785" cy="6865295"/>
          </a:xfrm>
          <a:prstGeom prst="rect">
            <a:avLst/>
          </a:prstGeom>
          <a:solidFill>
            <a:srgbClr val="B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5" name="Title 5">
            <a:extLst>
              <a:ext uri="{FF2B5EF4-FFF2-40B4-BE49-F238E27FC236}">
                <a16:creationId xmlns:a16="http://schemas.microsoft.com/office/drawing/2014/main" id="{C3D37A8A-9B0D-82CA-8A5D-4AA3A5F04E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550" y="660321"/>
            <a:ext cx="5091794" cy="502943"/>
          </a:xfrm>
        </p:spPr>
        <p:txBody>
          <a:bodyPr vert="horz" anchor="b"/>
          <a:lstStyle>
            <a:lvl1pPr>
              <a:defRPr/>
            </a:lvl1pPr>
          </a:lstStyle>
          <a:p>
            <a:r>
              <a:rPr lang="en-US" dirty="0"/>
              <a:t>Click to add Headline</a:t>
            </a:r>
          </a:p>
        </p:txBody>
      </p:sp>
      <p:sp>
        <p:nvSpPr>
          <p:cNvPr id="32" name="Text Placeholder 17">
            <a:extLst>
              <a:ext uri="{FF2B5EF4-FFF2-40B4-BE49-F238E27FC236}">
                <a16:creationId xmlns:a16="http://schemas.microsoft.com/office/drawing/2014/main" id="{59551D52-3BA1-E3F9-B672-519D90C0A9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6890" y="1355338"/>
            <a:ext cx="5091794" cy="34013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i="0" cap="none" spc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3DA0997D-E6A0-FE22-A129-BABAC57FFF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6890" y="1872911"/>
            <a:ext cx="5091794" cy="434115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4" name="Text Placeholder 19">
            <a:extLst>
              <a:ext uri="{FF2B5EF4-FFF2-40B4-BE49-F238E27FC236}">
                <a16:creationId xmlns:a16="http://schemas.microsoft.com/office/drawing/2014/main" id="{2CC4E0CF-94EE-CCCC-7B00-5EC1541FD3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4963" y="1355339"/>
            <a:ext cx="5530268" cy="485872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321C3C6-7AFE-2CAE-526D-203532E935EC}"/>
              </a:ext>
            </a:extLst>
          </p:cNvPr>
          <p:cNvCxnSpPr>
            <a:cxnSpLocks/>
          </p:cNvCxnSpPr>
          <p:nvPr userDrawn="1"/>
        </p:nvCxnSpPr>
        <p:spPr>
          <a:xfrm>
            <a:off x="716890" y="1177894"/>
            <a:ext cx="5091794" cy="0"/>
          </a:xfrm>
          <a:prstGeom prst="line">
            <a:avLst/>
          </a:prstGeom>
          <a:ln>
            <a:solidFill>
              <a:srgbClr val="EF3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6E9A2BC1-FE59-82F9-8BD5-741B770CB08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16890" y="6402345"/>
            <a:ext cx="1725891" cy="314664"/>
          </a:xfrm>
          <a:prstGeom prst="rect">
            <a:avLst/>
          </a:prstGeom>
        </p:spPr>
      </p:pic>
      <p:pic>
        <p:nvPicPr>
          <p:cNvPr id="19" name="Picture 18" descr="A logo with text overlay&#10;&#10;Description automatically generated">
            <a:extLst>
              <a:ext uri="{FF2B5EF4-FFF2-40B4-BE49-F238E27FC236}">
                <a16:creationId xmlns:a16="http://schemas.microsoft.com/office/drawing/2014/main" id="{E0FE6B83-1BA5-1916-E897-4C79FC970F2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091333" y="6348746"/>
            <a:ext cx="813353" cy="3531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9739FFE-2D29-63C8-C709-C37047CAEE69}"/>
              </a:ext>
            </a:extLst>
          </p:cNvPr>
          <p:cNvCxnSpPr>
            <a:cxnSpLocks/>
          </p:cNvCxnSpPr>
          <p:nvPr userDrawn="1"/>
        </p:nvCxnSpPr>
        <p:spPr>
          <a:xfrm>
            <a:off x="716890" y="6731639"/>
            <a:ext cx="11187796" cy="0"/>
          </a:xfrm>
          <a:prstGeom prst="line">
            <a:avLst/>
          </a:prstGeom>
          <a:ln>
            <a:solidFill>
              <a:srgbClr val="EF3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0E146B97-41E7-300B-B277-FB53D56596D4}"/>
              </a:ext>
            </a:extLst>
          </p:cNvPr>
          <p:cNvSpPr txBox="1">
            <a:spLocks/>
          </p:cNvSpPr>
          <p:nvPr userDrawn="1"/>
        </p:nvSpPr>
        <p:spPr>
          <a:xfrm>
            <a:off x="11873402" y="6542413"/>
            <a:ext cx="4757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0C042595-5A16-0D48-BFD4-46674D550121}" type="slidenum">
              <a:rPr lang="en-US" sz="1000" b="1" smtClean="0">
                <a:latin typeface="Verdana" panose="020B0604030504040204" pitchFamily="34" charset="0"/>
                <a:ea typeface="Verdana" panose="020B0604030504040204" pitchFamily="34" charset="0"/>
              </a:rPr>
              <a:pPr algn="l"/>
              <a:t>‹#›</a:t>
            </a:fld>
            <a:endParaRPr lang="en-US" sz="1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6" name="Title 5">
            <a:extLst>
              <a:ext uri="{FF2B5EF4-FFF2-40B4-BE49-F238E27FC236}">
                <a16:creationId xmlns:a16="http://schemas.microsoft.com/office/drawing/2014/main" id="{359B54B9-C6C3-88F4-7DDA-EAEE83EF58AE}"/>
              </a:ext>
            </a:extLst>
          </p:cNvPr>
          <p:cNvSpPr txBox="1">
            <a:spLocks/>
          </p:cNvSpPr>
          <p:nvPr userDrawn="1"/>
        </p:nvSpPr>
        <p:spPr>
          <a:xfrm>
            <a:off x="716890" y="233188"/>
            <a:ext cx="3884372" cy="349225"/>
          </a:xfrm>
          <a:prstGeom prst="rect">
            <a:avLst/>
          </a:prstGeom>
        </p:spPr>
        <p:txBody>
          <a:bodyPr vert="horz" lIns="45720" tIns="45720" rIns="4572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i="0" kern="1200">
                <a:solidFill>
                  <a:schemeClr val="accent3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F09C02CF-F011-71DA-B77D-2B71DD2F66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7550" y="233188"/>
            <a:ext cx="3649663" cy="349225"/>
          </a:xfrm>
        </p:spPr>
        <p:txBody>
          <a:bodyPr anchor="ctr">
            <a:noAutofit/>
          </a:bodyPr>
          <a:lstStyle>
            <a:lvl1pPr marL="0" indent="0">
              <a:buNone/>
              <a:defRPr sz="1600" b="1"/>
            </a:lvl1pPr>
          </a:lstStyle>
          <a:p>
            <a:r>
              <a:rPr lang="en-US" dirty="0"/>
              <a:t>## | CASE: </a:t>
            </a:r>
          </a:p>
        </p:txBody>
      </p:sp>
    </p:spTree>
    <p:extLst>
      <p:ext uri="{BB962C8B-B14F-4D97-AF65-F5344CB8AC3E}">
        <p14:creationId xmlns:p14="http://schemas.microsoft.com/office/powerpoint/2010/main" val="9733071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CA16239-8427-C439-7DA7-E3B2EF862F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2353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C1F78F3-AF9F-E1BA-5543-ABA61F69E5FC}"/>
              </a:ext>
            </a:extLst>
          </p:cNvPr>
          <p:cNvSpPr/>
          <p:nvPr userDrawn="1"/>
        </p:nvSpPr>
        <p:spPr>
          <a:xfrm>
            <a:off x="0" y="0"/>
            <a:ext cx="475785" cy="6861958"/>
          </a:xfrm>
          <a:prstGeom prst="rect">
            <a:avLst/>
          </a:prstGeom>
          <a:solidFill>
            <a:srgbClr val="B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EF7FA68-4F83-3F47-04E5-6618A214CDCD}"/>
              </a:ext>
            </a:extLst>
          </p:cNvPr>
          <p:cNvCxnSpPr>
            <a:cxnSpLocks/>
          </p:cNvCxnSpPr>
          <p:nvPr userDrawn="1"/>
        </p:nvCxnSpPr>
        <p:spPr>
          <a:xfrm>
            <a:off x="716890" y="1177894"/>
            <a:ext cx="11187796" cy="0"/>
          </a:xfrm>
          <a:prstGeom prst="line">
            <a:avLst/>
          </a:prstGeom>
          <a:ln>
            <a:solidFill>
              <a:srgbClr val="EF3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hart Placeholder 18">
            <a:extLst>
              <a:ext uri="{FF2B5EF4-FFF2-40B4-BE49-F238E27FC236}">
                <a16:creationId xmlns:a16="http://schemas.microsoft.com/office/drawing/2014/main" id="{BA5FC271-A605-E8A0-8EEF-653CC6FDD09F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716890" y="1877611"/>
            <a:ext cx="11156511" cy="4306216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57DE470C-2174-075E-DDF1-9AEEAF7648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6891" y="1394371"/>
            <a:ext cx="11187796" cy="34013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i="0" cap="none" spc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ubhead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CE65D2-D955-61BD-0376-120839E1923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16890" y="6402345"/>
            <a:ext cx="1725891" cy="314664"/>
          </a:xfrm>
          <a:prstGeom prst="rect">
            <a:avLst/>
          </a:prstGeom>
        </p:spPr>
      </p:pic>
      <p:pic>
        <p:nvPicPr>
          <p:cNvPr id="10" name="Picture 9" descr="A logo with text overlay&#10;&#10;Description automatically generated">
            <a:extLst>
              <a:ext uri="{FF2B5EF4-FFF2-40B4-BE49-F238E27FC236}">
                <a16:creationId xmlns:a16="http://schemas.microsoft.com/office/drawing/2014/main" id="{7546CA9F-BCD6-D240-55D3-B11D31EC3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091333" y="6348746"/>
            <a:ext cx="813353" cy="353133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BDA69D-D712-39A1-C43B-C91A020440C7}"/>
              </a:ext>
            </a:extLst>
          </p:cNvPr>
          <p:cNvCxnSpPr>
            <a:cxnSpLocks/>
          </p:cNvCxnSpPr>
          <p:nvPr userDrawn="1"/>
        </p:nvCxnSpPr>
        <p:spPr>
          <a:xfrm>
            <a:off x="716890" y="6731639"/>
            <a:ext cx="11187796" cy="0"/>
          </a:xfrm>
          <a:prstGeom prst="line">
            <a:avLst/>
          </a:prstGeom>
          <a:ln>
            <a:solidFill>
              <a:srgbClr val="EF3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30126C67-42DB-A5FA-7115-A848D2C3BDBE}"/>
              </a:ext>
            </a:extLst>
          </p:cNvPr>
          <p:cNvSpPr txBox="1">
            <a:spLocks/>
          </p:cNvSpPr>
          <p:nvPr userDrawn="1"/>
        </p:nvSpPr>
        <p:spPr>
          <a:xfrm>
            <a:off x="11873402" y="6542413"/>
            <a:ext cx="4757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0C042595-5A16-0D48-BFD4-46674D550121}" type="slidenum">
              <a:rPr lang="en-US" sz="1000" b="1" smtClean="0">
                <a:latin typeface="Verdana" panose="020B0604030504040204" pitchFamily="34" charset="0"/>
                <a:ea typeface="Verdana" panose="020B0604030504040204" pitchFamily="34" charset="0"/>
              </a:rPr>
              <a:pPr algn="l"/>
              <a:t>‹#›</a:t>
            </a:fld>
            <a:endParaRPr lang="en-US" sz="1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7049223F-1E4C-FFB9-9F5C-2D920035D9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549" y="660321"/>
            <a:ext cx="11187137" cy="502943"/>
          </a:xfrm>
        </p:spPr>
        <p:txBody>
          <a:bodyPr vert="horz" anchor="b"/>
          <a:lstStyle>
            <a:lvl1pPr>
              <a:defRPr/>
            </a:lvl1pPr>
          </a:lstStyle>
          <a:p>
            <a:r>
              <a:rPr lang="en-US" dirty="0"/>
              <a:t>Click to add Headline</a:t>
            </a:r>
          </a:p>
        </p:txBody>
      </p:sp>
      <p:sp>
        <p:nvSpPr>
          <p:cNvPr id="20" name="Text Placeholder 37">
            <a:extLst>
              <a:ext uri="{FF2B5EF4-FFF2-40B4-BE49-F238E27FC236}">
                <a16:creationId xmlns:a16="http://schemas.microsoft.com/office/drawing/2014/main" id="{65991A12-5EF1-91CB-CA7F-E60F7787AE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7550" y="233188"/>
            <a:ext cx="3649663" cy="349225"/>
          </a:xfrm>
        </p:spPr>
        <p:txBody>
          <a:bodyPr anchor="ctr">
            <a:noAutofit/>
          </a:bodyPr>
          <a:lstStyle>
            <a:lvl1pPr marL="0" indent="0">
              <a:buNone/>
              <a:defRPr sz="1600" b="1"/>
            </a:lvl1pPr>
          </a:lstStyle>
          <a:p>
            <a:r>
              <a:rPr lang="en-US" dirty="0"/>
              <a:t>## | CASE: </a:t>
            </a:r>
          </a:p>
        </p:txBody>
      </p:sp>
    </p:spTree>
    <p:extLst>
      <p:ext uri="{BB962C8B-B14F-4D97-AF65-F5344CB8AC3E}">
        <p14:creationId xmlns:p14="http://schemas.microsoft.com/office/powerpoint/2010/main" val="5141727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2A8183D-45C5-4D5A-8C33-54F84F744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2232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 Placeholder 19">
            <a:extLst>
              <a:ext uri="{FF2B5EF4-FFF2-40B4-BE49-F238E27FC236}">
                <a16:creationId xmlns:a16="http://schemas.microsoft.com/office/drawing/2014/main" id="{9F458384-4D14-B444-BD1F-FF0C65D80D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6890" y="1455728"/>
            <a:ext cx="11187796" cy="4738725"/>
          </a:xfr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0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ulleted List</a:t>
            </a:r>
          </a:p>
          <a:p>
            <a:pPr lvl="0"/>
            <a:r>
              <a:rPr lang="en-US" dirty="0"/>
              <a:t>Click to add Bulleted List</a:t>
            </a:r>
          </a:p>
          <a:p>
            <a:pPr lvl="0"/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09EF6CC-E039-8F98-143D-8CBB6E8D3546}"/>
              </a:ext>
            </a:extLst>
          </p:cNvPr>
          <p:cNvSpPr/>
          <p:nvPr userDrawn="1"/>
        </p:nvSpPr>
        <p:spPr>
          <a:xfrm>
            <a:off x="0" y="0"/>
            <a:ext cx="475785" cy="6858000"/>
          </a:xfrm>
          <a:prstGeom prst="rect">
            <a:avLst/>
          </a:prstGeom>
          <a:solidFill>
            <a:srgbClr val="B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598BF49-06E4-7585-EE71-8AC1D3E3C62B}"/>
              </a:ext>
            </a:extLst>
          </p:cNvPr>
          <p:cNvCxnSpPr>
            <a:cxnSpLocks/>
          </p:cNvCxnSpPr>
          <p:nvPr userDrawn="1"/>
        </p:nvCxnSpPr>
        <p:spPr>
          <a:xfrm>
            <a:off x="716890" y="1177894"/>
            <a:ext cx="11187796" cy="0"/>
          </a:xfrm>
          <a:prstGeom prst="line">
            <a:avLst/>
          </a:prstGeom>
          <a:ln>
            <a:solidFill>
              <a:srgbClr val="EF3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2FD6F8FF-A878-7F9C-1C90-AE36369CF95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16890" y="6402345"/>
            <a:ext cx="1725891" cy="314664"/>
          </a:xfrm>
          <a:prstGeom prst="rect">
            <a:avLst/>
          </a:prstGeom>
        </p:spPr>
      </p:pic>
      <p:pic>
        <p:nvPicPr>
          <p:cNvPr id="15" name="Picture 14" descr="A logo with text overlay&#10;&#10;Description automatically generated">
            <a:extLst>
              <a:ext uri="{FF2B5EF4-FFF2-40B4-BE49-F238E27FC236}">
                <a16:creationId xmlns:a16="http://schemas.microsoft.com/office/drawing/2014/main" id="{9690316F-E33D-4BD0-6D91-593864754D2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091333" y="6348746"/>
            <a:ext cx="813353" cy="35313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BEEA405-8A59-4FA8-2AB9-E43EC03DFEB7}"/>
              </a:ext>
            </a:extLst>
          </p:cNvPr>
          <p:cNvCxnSpPr>
            <a:cxnSpLocks/>
          </p:cNvCxnSpPr>
          <p:nvPr userDrawn="1"/>
        </p:nvCxnSpPr>
        <p:spPr>
          <a:xfrm>
            <a:off x="716890" y="6731639"/>
            <a:ext cx="11187796" cy="0"/>
          </a:xfrm>
          <a:prstGeom prst="line">
            <a:avLst/>
          </a:prstGeom>
          <a:ln>
            <a:solidFill>
              <a:srgbClr val="EF3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133F5939-94A0-3941-B600-0163FBA7123D}"/>
              </a:ext>
            </a:extLst>
          </p:cNvPr>
          <p:cNvSpPr txBox="1">
            <a:spLocks/>
          </p:cNvSpPr>
          <p:nvPr userDrawn="1"/>
        </p:nvSpPr>
        <p:spPr>
          <a:xfrm>
            <a:off x="11873402" y="6542413"/>
            <a:ext cx="4757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0C042595-5A16-0D48-BFD4-46674D550121}" type="slidenum">
              <a:rPr lang="en-US" sz="1000" b="1" smtClean="0">
                <a:latin typeface="Verdana" panose="020B0604030504040204" pitchFamily="34" charset="0"/>
                <a:ea typeface="Verdana" panose="020B0604030504040204" pitchFamily="34" charset="0"/>
              </a:rPr>
              <a:pPr algn="l"/>
              <a:t>‹#›</a:t>
            </a:fld>
            <a:endParaRPr lang="en-US" sz="1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Title 5">
            <a:extLst>
              <a:ext uri="{FF2B5EF4-FFF2-40B4-BE49-F238E27FC236}">
                <a16:creationId xmlns:a16="http://schemas.microsoft.com/office/drawing/2014/main" id="{395AD8FD-D810-7510-34A0-156927C77F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549" y="660321"/>
            <a:ext cx="11187137" cy="502943"/>
          </a:xfrm>
        </p:spPr>
        <p:txBody>
          <a:bodyPr vert="horz" anchor="b"/>
          <a:lstStyle>
            <a:lvl1pPr>
              <a:defRPr/>
            </a:lvl1pPr>
          </a:lstStyle>
          <a:p>
            <a:r>
              <a:rPr lang="en-US" dirty="0"/>
              <a:t>Click to add Headline</a:t>
            </a:r>
          </a:p>
        </p:txBody>
      </p:sp>
      <p:sp>
        <p:nvSpPr>
          <p:cNvPr id="20" name="Text Placeholder 37">
            <a:extLst>
              <a:ext uri="{FF2B5EF4-FFF2-40B4-BE49-F238E27FC236}">
                <a16:creationId xmlns:a16="http://schemas.microsoft.com/office/drawing/2014/main" id="{E70D2B3A-329E-8088-2396-21E0C8928C4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7550" y="233188"/>
            <a:ext cx="3649663" cy="349225"/>
          </a:xfrm>
        </p:spPr>
        <p:txBody>
          <a:bodyPr anchor="ctr">
            <a:noAutofit/>
          </a:bodyPr>
          <a:lstStyle>
            <a:lvl1pPr marL="0" indent="0">
              <a:buNone/>
              <a:defRPr sz="1600" b="1"/>
            </a:lvl1pPr>
          </a:lstStyle>
          <a:p>
            <a:r>
              <a:rPr lang="en-US" dirty="0"/>
              <a:t>## | CASE: </a:t>
            </a:r>
          </a:p>
        </p:txBody>
      </p:sp>
    </p:spTree>
    <p:extLst>
      <p:ext uri="{BB962C8B-B14F-4D97-AF65-F5344CB8AC3E}">
        <p14:creationId xmlns:p14="http://schemas.microsoft.com/office/powerpoint/2010/main" val="2712736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CC69F08-0080-7A5F-F887-96C7931655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0209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A496919-E748-C795-E2CA-A72A60EAD3D9}"/>
              </a:ext>
            </a:extLst>
          </p:cNvPr>
          <p:cNvSpPr/>
          <p:nvPr userDrawn="1"/>
        </p:nvSpPr>
        <p:spPr>
          <a:xfrm>
            <a:off x="0" y="0"/>
            <a:ext cx="475785" cy="6858000"/>
          </a:xfrm>
          <a:prstGeom prst="rect">
            <a:avLst/>
          </a:prstGeom>
          <a:solidFill>
            <a:srgbClr val="B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A906B6D2-DEB1-B89F-8DAE-76A0D6E4C8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70523" y="1341209"/>
            <a:ext cx="5534163" cy="34013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i="0" cap="none" spc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146CEA34-573A-91F9-DB10-F520241BFD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4224" y="1886086"/>
            <a:ext cx="5534163" cy="427008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7E95F9-A9DB-28CB-3257-A332A8B5264E}"/>
              </a:ext>
            </a:extLst>
          </p:cNvPr>
          <p:cNvCxnSpPr>
            <a:cxnSpLocks/>
          </p:cNvCxnSpPr>
          <p:nvPr userDrawn="1"/>
        </p:nvCxnSpPr>
        <p:spPr>
          <a:xfrm>
            <a:off x="716890" y="1177894"/>
            <a:ext cx="11187796" cy="0"/>
          </a:xfrm>
          <a:prstGeom prst="line">
            <a:avLst/>
          </a:prstGeom>
          <a:ln>
            <a:solidFill>
              <a:srgbClr val="EF3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A36B841-2F58-F487-AC51-57DEC3EF3BF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16890" y="6402345"/>
            <a:ext cx="1725891" cy="314664"/>
          </a:xfrm>
          <a:prstGeom prst="rect">
            <a:avLst/>
          </a:prstGeom>
        </p:spPr>
      </p:pic>
      <p:pic>
        <p:nvPicPr>
          <p:cNvPr id="14" name="Picture 13" descr="A logo with text overlay&#10;&#10;Description automatically generated">
            <a:extLst>
              <a:ext uri="{FF2B5EF4-FFF2-40B4-BE49-F238E27FC236}">
                <a16:creationId xmlns:a16="http://schemas.microsoft.com/office/drawing/2014/main" id="{4C2141F4-2F0A-4325-A306-42A950A396B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091333" y="6348746"/>
            <a:ext cx="813353" cy="35313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B73EC92-7361-3344-78A2-AB39E1A9F78F}"/>
              </a:ext>
            </a:extLst>
          </p:cNvPr>
          <p:cNvCxnSpPr>
            <a:cxnSpLocks/>
          </p:cNvCxnSpPr>
          <p:nvPr userDrawn="1"/>
        </p:nvCxnSpPr>
        <p:spPr>
          <a:xfrm>
            <a:off x="716890" y="6731639"/>
            <a:ext cx="11187796" cy="0"/>
          </a:xfrm>
          <a:prstGeom prst="line">
            <a:avLst/>
          </a:prstGeom>
          <a:ln>
            <a:solidFill>
              <a:srgbClr val="EF33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7C1596C7-B38E-7DC7-2672-83EDAD327EFB}"/>
              </a:ext>
            </a:extLst>
          </p:cNvPr>
          <p:cNvSpPr txBox="1">
            <a:spLocks/>
          </p:cNvSpPr>
          <p:nvPr userDrawn="1"/>
        </p:nvSpPr>
        <p:spPr>
          <a:xfrm>
            <a:off x="11873402" y="6542413"/>
            <a:ext cx="4757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0C042595-5A16-0D48-BFD4-46674D550121}" type="slidenum">
              <a:rPr lang="en-US" sz="1000" b="1" smtClean="0">
                <a:latin typeface="Verdana" panose="020B0604030504040204" pitchFamily="34" charset="0"/>
                <a:ea typeface="Verdana" panose="020B0604030504040204" pitchFamily="34" charset="0"/>
              </a:rPr>
              <a:pPr algn="l"/>
              <a:t>‹#›</a:t>
            </a:fld>
            <a:endParaRPr lang="en-US" sz="1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592A099-8565-7BD5-F0E2-6ACCF083B3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3189" y="1341209"/>
            <a:ext cx="5534163" cy="34013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i="0" cap="none" spc="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19" name="Text Placeholder 19">
            <a:extLst>
              <a:ext uri="{FF2B5EF4-FFF2-40B4-BE49-F238E27FC236}">
                <a16:creationId xmlns:a16="http://schemas.microsoft.com/office/drawing/2014/main" id="{89B70F10-DDDD-F397-D02D-D2AF836BDA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6890" y="1886086"/>
            <a:ext cx="5534163" cy="427008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0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itle 5">
            <a:extLst>
              <a:ext uri="{FF2B5EF4-FFF2-40B4-BE49-F238E27FC236}">
                <a16:creationId xmlns:a16="http://schemas.microsoft.com/office/drawing/2014/main" id="{82F1D11D-4498-2CAE-1281-EDBD258923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549" y="660321"/>
            <a:ext cx="11187137" cy="502943"/>
          </a:xfrm>
        </p:spPr>
        <p:txBody>
          <a:bodyPr vert="horz" anchor="b"/>
          <a:lstStyle>
            <a:lvl1pPr>
              <a:defRPr/>
            </a:lvl1pPr>
          </a:lstStyle>
          <a:p>
            <a:r>
              <a:rPr lang="en-US" dirty="0"/>
              <a:t>Click to add Headline</a:t>
            </a:r>
          </a:p>
        </p:txBody>
      </p:sp>
      <p:sp>
        <p:nvSpPr>
          <p:cNvPr id="21" name="Text Placeholder 37">
            <a:extLst>
              <a:ext uri="{FF2B5EF4-FFF2-40B4-BE49-F238E27FC236}">
                <a16:creationId xmlns:a16="http://schemas.microsoft.com/office/drawing/2014/main" id="{46D1A63A-7D2F-E068-3DF2-908004D1C1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550" y="233188"/>
            <a:ext cx="3649663" cy="349225"/>
          </a:xfrm>
        </p:spPr>
        <p:txBody>
          <a:bodyPr anchor="ctr">
            <a:noAutofit/>
          </a:bodyPr>
          <a:lstStyle>
            <a:lvl1pPr marL="0" indent="0">
              <a:buNone/>
              <a:defRPr sz="1600" b="1"/>
            </a:lvl1pPr>
          </a:lstStyle>
          <a:p>
            <a:r>
              <a:rPr lang="en-US" dirty="0"/>
              <a:t>## | CASE: </a:t>
            </a:r>
          </a:p>
        </p:txBody>
      </p:sp>
    </p:spTree>
    <p:extLst>
      <p:ext uri="{BB962C8B-B14F-4D97-AF65-F5344CB8AC3E}">
        <p14:creationId xmlns:p14="http://schemas.microsoft.com/office/powerpoint/2010/main" val="5868303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E58E89-627B-6B07-6F63-FEC0F59B4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7332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50" imgH="350" progId="TCLayout.ActiveDocument.1">
                  <p:embed/>
                </p:oleObj>
              </mc:Choice>
              <mc:Fallback>
                <p:oleObj name="think-cell Slide" r:id="rId10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BC3106A-6317-6340-B00B-45C2BB22B0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3DEBD9-490E-9149-8713-57E91C3FE0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879755-CB03-A444-B032-2DAE981E9B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4138" y="6356350"/>
            <a:ext cx="3996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0C042595-5A16-0D48-BFD4-46674D5501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522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92" r:id="rId2"/>
    <p:sldLayoutId id="2147483694" r:id="rId3"/>
    <p:sldLayoutId id="2147483693" r:id="rId4"/>
    <p:sldLayoutId id="2147483651" r:id="rId5"/>
    <p:sldLayoutId id="2147483659" r:id="rId6"/>
    <p:sldLayoutId id="214748365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accent3">
              <a:lumMod val="50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800" b="0" i="0" kern="1200">
          <a:solidFill>
            <a:schemeClr val="accent3">
              <a:lumMod val="50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accent3">
              <a:lumMod val="50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accent3">
              <a:lumMod val="50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3">
              <a:lumMod val="50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accent3">
              <a:lumMod val="50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oleObject" Target="../embeddings/oleObject9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1.emf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28F6079-8281-0592-BEAE-5D1D3C6C89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9081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CA8EF38-A01C-DE48-2AE4-FC6362554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CC3784-670F-9868-99B9-FE26415D282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C21849-3F43-073C-721F-75F6A117C8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8577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F8AC4E69-A354-7283-04B4-8F7AA88CCE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8164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8055853-506E-4110-2AE3-AB6A603724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CC08C854-526B-7D77-6422-D32061D821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EC0890C6-DBA3-01E9-3454-398E7BDBDA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Title 30">
            <a:extLst>
              <a:ext uri="{FF2B5EF4-FFF2-40B4-BE49-F238E27FC236}">
                <a16:creationId xmlns:a16="http://schemas.microsoft.com/office/drawing/2014/main" id="{D29B6574-3CAF-BF79-A694-ABADEEBF1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B918C03-DFC0-E636-40D2-AB4D101B48B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5AF83E75-BBDA-0EBB-D5B5-0E5A246010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A94589D-F2BF-106D-AC59-C076D40CD315}"/>
              </a:ext>
            </a:extLst>
          </p:cNvPr>
          <p:cNvGrpSpPr/>
          <p:nvPr/>
        </p:nvGrpSpPr>
        <p:grpSpPr>
          <a:xfrm>
            <a:off x="6191582" y="1372998"/>
            <a:ext cx="986718" cy="340131"/>
            <a:chOff x="5721146" y="1372997"/>
            <a:chExt cx="986718" cy="340131"/>
          </a:xfrm>
        </p:grpSpPr>
        <p:pic>
          <p:nvPicPr>
            <p:cNvPr id="10" name="Graphic 9" descr="Calculator with solid fill">
              <a:extLst>
                <a:ext uri="{FF2B5EF4-FFF2-40B4-BE49-F238E27FC236}">
                  <a16:creationId xmlns:a16="http://schemas.microsoft.com/office/drawing/2014/main" id="{4875D284-9E51-4652-6249-901D0390D11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21146" y="1372997"/>
              <a:ext cx="340131" cy="340131"/>
            </a:xfrm>
            <a:prstGeom prst="rect">
              <a:avLst/>
            </a:prstGeom>
          </p:spPr>
        </p:pic>
        <p:pic>
          <p:nvPicPr>
            <p:cNvPr id="11" name="Graphic 10" descr="Calculator with solid fill">
              <a:extLst>
                <a:ext uri="{FF2B5EF4-FFF2-40B4-BE49-F238E27FC236}">
                  <a16:creationId xmlns:a16="http://schemas.microsoft.com/office/drawing/2014/main" id="{88CD7313-1186-BC18-455E-72B6E4F9F20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043611" y="1372997"/>
              <a:ext cx="340131" cy="340131"/>
            </a:xfrm>
            <a:prstGeom prst="rect">
              <a:avLst/>
            </a:prstGeom>
          </p:spPr>
        </p:pic>
        <p:pic>
          <p:nvPicPr>
            <p:cNvPr id="12" name="Graphic 11" descr="Calculator with solid fill">
              <a:extLst>
                <a:ext uri="{FF2B5EF4-FFF2-40B4-BE49-F238E27FC236}">
                  <a16:creationId xmlns:a16="http://schemas.microsoft.com/office/drawing/2014/main" id="{A9EE7EC3-B892-0B0F-CA84-C7F34F4DA55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367733" y="1372997"/>
              <a:ext cx="340131" cy="340131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A443F61-ABC4-9EB7-C6AC-19B9920DF398}"/>
              </a:ext>
            </a:extLst>
          </p:cNvPr>
          <p:cNvGrpSpPr/>
          <p:nvPr/>
        </p:nvGrpSpPr>
        <p:grpSpPr>
          <a:xfrm>
            <a:off x="7219108" y="1314463"/>
            <a:ext cx="1016295" cy="457200"/>
            <a:chOff x="7219108" y="1314463"/>
            <a:chExt cx="1016295" cy="457200"/>
          </a:xfrm>
        </p:grpSpPr>
        <p:pic>
          <p:nvPicPr>
            <p:cNvPr id="15" name="Graphic 14" descr="Palette with solid fill">
              <a:extLst>
                <a:ext uri="{FF2B5EF4-FFF2-40B4-BE49-F238E27FC236}">
                  <a16:creationId xmlns:a16="http://schemas.microsoft.com/office/drawing/2014/main" id="{D8BD721F-E069-6AC9-F34D-F5194F2ACF8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219108" y="1314463"/>
              <a:ext cx="340131" cy="457200"/>
            </a:xfrm>
            <a:prstGeom prst="rect">
              <a:avLst/>
            </a:prstGeom>
          </p:spPr>
        </p:pic>
        <p:pic>
          <p:nvPicPr>
            <p:cNvPr id="16" name="Graphic 15" descr="Palette with solid fill">
              <a:extLst>
                <a:ext uri="{FF2B5EF4-FFF2-40B4-BE49-F238E27FC236}">
                  <a16:creationId xmlns:a16="http://schemas.microsoft.com/office/drawing/2014/main" id="{8A13F8DF-53E3-ADE7-CDA8-C2498E08841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555141" y="1314463"/>
              <a:ext cx="340131" cy="457200"/>
            </a:xfrm>
            <a:prstGeom prst="rect">
              <a:avLst/>
            </a:prstGeom>
          </p:spPr>
        </p:pic>
        <p:pic>
          <p:nvPicPr>
            <p:cNvPr id="17" name="Graphic 16" descr="Palette with solid fill">
              <a:extLst>
                <a:ext uri="{FF2B5EF4-FFF2-40B4-BE49-F238E27FC236}">
                  <a16:creationId xmlns:a16="http://schemas.microsoft.com/office/drawing/2014/main" id="{B74A65E5-5154-C848-3BBB-B980A160136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895272" y="1314463"/>
              <a:ext cx="340131" cy="457200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FB8BF81-9464-A53C-2469-8732A0050D11}"/>
              </a:ext>
            </a:extLst>
          </p:cNvPr>
          <p:cNvGrpSpPr/>
          <p:nvPr/>
        </p:nvGrpSpPr>
        <p:grpSpPr>
          <a:xfrm>
            <a:off x="5148192" y="1372997"/>
            <a:ext cx="986718" cy="340131"/>
            <a:chOff x="5721146" y="1372997"/>
            <a:chExt cx="986718" cy="340131"/>
          </a:xfrm>
        </p:grpSpPr>
        <p:pic>
          <p:nvPicPr>
            <p:cNvPr id="24" name="Graphic 23" descr="Star with solid fill">
              <a:extLst>
                <a:ext uri="{FF2B5EF4-FFF2-40B4-BE49-F238E27FC236}">
                  <a16:creationId xmlns:a16="http://schemas.microsoft.com/office/drawing/2014/main" id="{D6360A68-C13D-4C6D-B844-A77D79151BA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5721146" y="1372997"/>
              <a:ext cx="340131" cy="340131"/>
            </a:xfrm>
            <a:prstGeom prst="rect">
              <a:avLst/>
            </a:prstGeom>
          </p:spPr>
        </p:pic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984E79C6-0F31-D321-063B-5E3435CCA5E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6043611" y="1372997"/>
              <a:ext cx="340131" cy="340131"/>
            </a:xfrm>
            <a:prstGeom prst="rect">
              <a:avLst/>
            </a:prstGeom>
          </p:spPr>
        </p:pic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C03BF063-6BC3-A95E-5B91-0037CA9933C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6367733" y="1372997"/>
              <a:ext cx="340131" cy="3401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1021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77471A6-B7CC-1EC5-F974-0DAF9D7DFB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7992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A88195-CD5A-743E-6997-1436456B7F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6B7CD56-24DB-DC6B-5520-20DA79CF44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D180A24-6204-0E4F-6561-E85B356B4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26804FA-73AF-75AA-726F-6C847A70BF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692505-F0D2-B7BA-E1B7-0970DC3DCF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8481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A66B1433-340F-1D35-46CA-9A49480FBA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1210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819DA5E-A3A0-0779-5244-ED32C38089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C61D492-A533-097E-75EC-9EFDF50B64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0D76069-1FBF-E0EA-82F9-443D54E3D3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05AB7FB-AFCB-D08E-60CA-D89822EDEE9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F143D1B3-9A21-BDF3-C757-E6FFF3DBA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FB99795-6F5E-2AFF-782F-5F6ED92B842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453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BF5B814-EC8E-8118-E7F8-2C51E30B57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523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A3790E4-390D-1012-CEE4-D01D005DA4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B753E53-F24F-715B-DB60-D09FF7A22D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1E80776-1294-D8C2-895E-F57294F983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69861A4-1A0A-795B-E922-6A177840E0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24CCDD2-CE5E-915D-EDD8-7F940409ED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A6446C0-3C54-1D58-1010-31E37B19F77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313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ACB72607-17F6-4F4A-579E-FABBEDCF76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2306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E6499CCC-0A8A-4F3E-8368-513C6C140EE5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35814BC-C0D2-9CA8-3F76-0EC1B55533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47B1F41-F8DE-7B6E-C10B-FE461251F5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7A78600-7BEC-7BCF-0FBD-7C8E40B84A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1129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003ECA2-DF97-F45A-D083-BCD6CAA453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7026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1881205-5182-62B9-3FD7-3A4164B35A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B4630D6-0990-B0F7-DBA0-26121CD4F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B0FB800-1C1B-F2E1-97B3-6191EC3F3A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4039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5EAC7662-ABF2-B67B-1D23-DB9BB55857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0018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0" imgH="350" progId="TCLayout.ActiveDocument.1">
                  <p:embed/>
                </p:oleObj>
              </mc:Choice>
              <mc:Fallback>
                <p:oleObj name="think-cell Slide" r:id="rId3" imgW="350" imgH="3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491C35-31E5-4F91-8A01-3EA7C509B65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A031D4-60F2-94A1-4613-BA20F3B24C4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0FB047A-D8F8-FD9E-545A-9B5AB4073C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EDFBEF1-8117-B2BA-5CD9-0AC0DBC605E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B7317A-C7C7-99C4-D6D9-7A55186F9A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794DDD5-D620-E368-87AC-AD0A5D16AF6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3495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835</TotalTime>
  <Words>0</Words>
  <Application>Microsoft Office PowerPoint</Application>
  <PresentationFormat>Widescreen</PresentationFormat>
  <Paragraphs>0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Open Sans Light</vt:lpstr>
      <vt:lpstr>Verdana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Microsoft Office User</dc:creator>
  <cp:keywords/>
  <dc:description/>
  <cp:lastModifiedBy>Robert Jordan</cp:lastModifiedBy>
  <cp:revision>368</cp:revision>
  <dcterms:created xsi:type="dcterms:W3CDTF">2020-01-15T23:36:41Z</dcterms:created>
  <dcterms:modified xsi:type="dcterms:W3CDTF">2025-02-04T12:48:01Z</dcterms:modified>
  <cp:category/>
</cp:coreProperties>
</file>